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914400" y="914400"/>
            <a:ext cx="1828800"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